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10" d="100"/>
          <a:sy n="110" d="100"/>
        </p:scale>
        <p:origin x="492" y="7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5/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25/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764253" y="93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b="1" i="0" u="none" strike="noStrike" baseline="0" dirty="0">
                <a:latin typeface="HelveticaNeueBold"/>
              </a:rPr>
              <a:t>The average price of energy and power was declining in the last year.</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algn="l"/>
            <a:r>
              <a:rPr lang="en-US" sz="1800" b="1" i="0" u="none" strike="noStrike" baseline="0" dirty="0">
                <a:latin typeface="HelveticaNeueBold"/>
              </a:rPr>
              <a:t>The average tenure of a client is 5 years</a:t>
            </a:r>
          </a:p>
          <a:p>
            <a:pPr algn="l"/>
            <a:r>
              <a:rPr lang="en-US" sz="1800" b="1" i="0" u="none" strike="noStrike" baseline="0" dirty="0">
                <a:latin typeface="HelveticaNeueBold"/>
              </a:rPr>
              <a:t>The average net </a:t>
            </a:r>
            <a:r>
              <a:rPr lang="en-US" sz="1800" b="1" i="0" u="none" strike="noStrike" baseline="0" dirty="0" err="1">
                <a:latin typeface="HelveticaNeueBold"/>
              </a:rPr>
              <a:t>marging</a:t>
            </a:r>
            <a:r>
              <a:rPr lang="en-US" sz="1800" b="1" i="0" u="none" strike="noStrike" baseline="0" dirty="0">
                <a:latin typeface="HelveticaNeueBold"/>
              </a:rPr>
              <a:t> is $217</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algn="l"/>
            <a:r>
              <a:rPr lang="en-US" sz="1800" b="1" i="0" u="none" strike="noStrike" baseline="0" dirty="0">
                <a:latin typeface="HelveticaNeueBold"/>
              </a:rPr>
              <a:t>The most popular electricity campaign is </a:t>
            </a:r>
            <a:r>
              <a:rPr lang="en-US" sz="1800" b="0" i="0" u="none" strike="noStrike" baseline="0" dirty="0" err="1">
                <a:latin typeface="CourierNewPSMT"/>
              </a:rPr>
              <a:t>lxidpiddsbxsbosboudacockeimpuepw</a:t>
            </a:r>
            <a:r>
              <a:rPr lang="en-US" sz="1800" b="0" i="0" u="none" strike="noStrike" baseline="0" dirty="0">
                <a:latin typeface="CourierNewPSMT"/>
              </a:rPr>
              <a:t> </a:t>
            </a:r>
            <a:r>
              <a:rPr lang="en-US" sz="1800" b="1" i="0" u="none" strike="noStrike" baseline="0" dirty="0">
                <a:latin typeface="HelveticaNeueBold"/>
              </a:rPr>
              <a:t>which has brought</a:t>
            </a:r>
          </a:p>
          <a:p>
            <a:pPr algn="l"/>
            <a:r>
              <a:rPr lang="en-US" sz="1800" b="1" i="0" u="none" strike="noStrike" baseline="0" dirty="0">
                <a:latin typeface="HelveticaNeueBold"/>
              </a:rPr>
              <a:t>6,584 current customers.</a:t>
            </a:r>
          </a:p>
          <a:p>
            <a:pPr algn="l"/>
            <a:r>
              <a:rPr lang="en-US" sz="1800" b="1" i="0" u="none" strike="noStrike" baseline="0" dirty="0">
                <a:latin typeface="HelveticaNeueBold"/>
              </a:rPr>
              <a:t>The electricity campaign attributable to the highest total net margin is</a:t>
            </a:r>
          </a:p>
          <a:p>
            <a:pPr algn="l"/>
            <a:r>
              <a:rPr lang="en-US" sz="1800" b="0" i="0" u="none" strike="noStrike" baseline="0" dirty="0" err="1">
                <a:latin typeface="CourierNewPSMT"/>
              </a:rPr>
              <a:t>lxidpiddsbxsbosboudacockeimpuepw</a:t>
            </a:r>
            <a:r>
              <a:rPr lang="en-US" sz="1800" b="0" i="0" u="none" strike="noStrike" baseline="0" dirty="0">
                <a:latin typeface="CourierNewPSMT"/>
              </a:rPr>
              <a:t> </a:t>
            </a:r>
            <a:r>
              <a:rPr lang="en-US" sz="1800" b="1" i="0" u="none" strike="noStrike" baseline="0" dirty="0">
                <a:latin typeface="HelveticaNeueBold"/>
              </a:rPr>
              <a:t>. Netting $1,541,159.95 in 2015.</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9</TotalTime>
  <Words>76</Words>
  <Application>Microsoft Office PowerPoint</Application>
  <PresentationFormat>Widescreen</PresentationFormat>
  <Paragraphs>18</Paragraphs>
  <Slides>1</Slides>
  <Notes>1</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CourierNewPSMT</vt:lpstr>
      <vt:lpstr>HelveticaNeueBold</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tudent 4012</cp:lastModifiedBy>
  <cp:revision>450</cp:revision>
  <cp:lastPrinted>2016-04-06T18:59:25Z</cp:lastPrinted>
  <dcterms:created xsi:type="dcterms:W3CDTF">2016-11-04T11:46:04Z</dcterms:created>
  <dcterms:modified xsi:type="dcterms:W3CDTF">2022-04-25T12:5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